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3"/>
  </p:notesMasterIdLst>
  <p:handoutMasterIdLst>
    <p:handoutMasterId r:id="rId4"/>
  </p:handoutMasterIdLst>
  <p:sldIdLst>
    <p:sldId id="328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150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3/08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3/08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47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August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9CDCC76-2755-4D5B-8768-7DB2193F4DB9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52489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E VANTAGENS</a:t>
                      </a:r>
                      <a:endParaRPr kumimoji="0" lang="pt-B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Eficiência: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50% Menos de paradas da máquina com um único operador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Otimização de custos Menos paradas significa </a:t>
                      </a:r>
                      <a:br/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melhor TCO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Segurança: Sistema semi-automático exigindo menos </a:t>
                      </a:r>
                      <a:br/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operações manuai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Simplicidade e ergonomia: Operações sem ferramentas e melhor acesso às peça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istema Bottle Switch™ patenteado melhorando a flexibilidade da moldagem por sopro reduzindo o tempo de mudança de molde para menos de um minuto, ou seja metade do tempo de parada. Esta solução semi-automática é fácil para os operadores e não requer ferramentas.</a:t>
                      </a:r>
                      <a:endParaRPr kumimoji="0" lang="pt-B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 Bottle Switch™ é declinado em 5 packs para satisfazer as necessidades do cliente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 Pack 2 contém um conjunto de mudança do corpo do molde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Diminuição importante do tempo de mudança de formato</a:t>
            </a:r>
            <a:endParaRPr lang="pt-BR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376772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Bottle Switch™ Séries 2 – Pack 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Flexibilida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Séries 2 (MM GM Séries 2 (GUPM cilíndrico, SBO não HR))</a:t>
            </a:r>
            <a:endParaRPr kumimoji="0" lang="pt-B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968P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79" t="6013" r="10979" b="6013"/>
          <a:stretch/>
        </p:blipFill>
        <p:spPr bwMode="auto">
          <a:xfrm>
            <a:off x="5860330" y="4246719"/>
            <a:ext cx="1703815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9198DC30-854E-4CDB-A416-F6F0288E09F4}"/>
              </a:ext>
            </a:extLst>
          </p:cNvPr>
          <p:cNvSpPr/>
          <p:nvPr/>
        </p:nvSpPr>
        <p:spPr>
          <a:xfrm>
            <a:off x="4768071" y="1743075"/>
            <a:ext cx="3872692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ÇÃO</a:t>
            </a:r>
            <a:endParaRPr kumimoji="0" lang="pt-BR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7968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0_FINAL</Template>
  <TotalTime>0</TotalTime>
  <Words>139</Words>
  <Application>Microsoft Office PowerPoint</Application>
  <PresentationFormat>Affichage à l'écran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Diminuição importante do tempo de mudança de forma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your equipment efficiency by implementing the autonomous maintenance principles</dc:title>
  <dc:creator>Sorega, Dan</dc:creator>
  <cp:lastModifiedBy>Sorega, Dan</cp:lastModifiedBy>
  <cp:revision>18</cp:revision>
  <dcterms:created xsi:type="dcterms:W3CDTF">2017-06-28T07:21:44Z</dcterms:created>
  <dcterms:modified xsi:type="dcterms:W3CDTF">2019-08-13T13:46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08-13T13:46:58.0352491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4-10T13:45:49.9530240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4-10T13:45:49.9530240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